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9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71"/>
  </p:notesMasterIdLst>
  <p:sldIdLst>
    <p:sldId id="760" r:id="rId18"/>
    <p:sldId id="708" r:id="rId19"/>
    <p:sldId id="714" r:id="rId20"/>
    <p:sldId id="756" r:id="rId21"/>
    <p:sldId id="757" r:id="rId22"/>
    <p:sldId id="758" r:id="rId23"/>
    <p:sldId id="759" r:id="rId24"/>
    <p:sldId id="727" r:id="rId25"/>
    <p:sldId id="728" r:id="rId26"/>
    <p:sldId id="762" r:id="rId27"/>
    <p:sldId id="763" r:id="rId28"/>
    <p:sldId id="764" r:id="rId29"/>
    <p:sldId id="765" r:id="rId30"/>
    <p:sldId id="766" r:id="rId31"/>
    <p:sldId id="767" r:id="rId32"/>
    <p:sldId id="768" r:id="rId33"/>
    <p:sldId id="761" r:id="rId34"/>
    <p:sldId id="715" r:id="rId35"/>
    <p:sldId id="730" r:id="rId36"/>
    <p:sldId id="716" r:id="rId37"/>
    <p:sldId id="717" r:id="rId38"/>
    <p:sldId id="718" r:id="rId39"/>
    <p:sldId id="719" r:id="rId40"/>
    <p:sldId id="720" r:id="rId41"/>
    <p:sldId id="723" r:id="rId42"/>
    <p:sldId id="731" r:id="rId43"/>
    <p:sldId id="724" r:id="rId44"/>
    <p:sldId id="725" r:id="rId45"/>
    <p:sldId id="732" r:id="rId46"/>
    <p:sldId id="729" r:id="rId47"/>
    <p:sldId id="739" r:id="rId48"/>
    <p:sldId id="726" r:id="rId49"/>
    <p:sldId id="733" r:id="rId50"/>
    <p:sldId id="740" r:id="rId51"/>
    <p:sldId id="734" r:id="rId52"/>
    <p:sldId id="735" r:id="rId53"/>
    <p:sldId id="741" r:id="rId54"/>
    <p:sldId id="736" r:id="rId55"/>
    <p:sldId id="742" r:id="rId56"/>
    <p:sldId id="737" r:id="rId57"/>
    <p:sldId id="743" r:id="rId58"/>
    <p:sldId id="738" r:id="rId59"/>
    <p:sldId id="721" r:id="rId60"/>
    <p:sldId id="722" r:id="rId61"/>
    <p:sldId id="744" r:id="rId62"/>
    <p:sldId id="745" r:id="rId63"/>
    <p:sldId id="746" r:id="rId64"/>
    <p:sldId id="755" r:id="rId65"/>
    <p:sldId id="747" r:id="rId66"/>
    <p:sldId id="681" r:id="rId67"/>
    <p:sldId id="701" r:id="rId68"/>
    <p:sldId id="769" r:id="rId69"/>
    <p:sldId id="770" r:id="rId70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760"/>
            <p14:sldId id="708"/>
            <p14:sldId id="714"/>
            <p14:sldId id="756"/>
            <p14:sldId id="757"/>
            <p14:sldId id="758"/>
            <p14:sldId id="759"/>
            <p14:sldId id="727"/>
            <p14:sldId id="728"/>
            <p14:sldId id="762"/>
            <p14:sldId id="763"/>
            <p14:sldId id="764"/>
            <p14:sldId id="765"/>
            <p14:sldId id="766"/>
            <p14:sldId id="767"/>
            <p14:sldId id="768"/>
            <p14:sldId id="761"/>
            <p14:sldId id="715"/>
            <p14:sldId id="730"/>
            <p14:sldId id="716"/>
            <p14:sldId id="717"/>
            <p14:sldId id="718"/>
            <p14:sldId id="719"/>
            <p14:sldId id="720"/>
            <p14:sldId id="723"/>
            <p14:sldId id="731"/>
            <p14:sldId id="724"/>
            <p14:sldId id="725"/>
            <p14:sldId id="732"/>
            <p14:sldId id="729"/>
            <p14:sldId id="739"/>
            <p14:sldId id="726"/>
            <p14:sldId id="733"/>
            <p14:sldId id="740"/>
            <p14:sldId id="734"/>
            <p14:sldId id="735"/>
            <p14:sldId id="741"/>
            <p14:sldId id="736"/>
            <p14:sldId id="742"/>
            <p14:sldId id="737"/>
            <p14:sldId id="743"/>
            <p14:sldId id="738"/>
            <p14:sldId id="721"/>
            <p14:sldId id="722"/>
            <p14:sldId id="744"/>
            <p14:sldId id="745"/>
            <p14:sldId id="746"/>
            <p14:sldId id="755"/>
            <p14:sldId id="747"/>
            <p14:sldId id="681"/>
            <p14:sldId id="701"/>
            <p14:sldId id="769"/>
            <p14:sldId id="7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2"/>
    <a:srgbClr val="EDC30D"/>
    <a:srgbClr val="000000"/>
    <a:srgbClr val="FFFF00"/>
    <a:srgbClr val="FFFFFF"/>
    <a:srgbClr val="FFCC00"/>
    <a:srgbClr val="217346"/>
    <a:srgbClr val="00539B"/>
    <a:srgbClr val="919191"/>
    <a:srgbClr val="107C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0825" autoAdjust="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74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slide" Target="slides/slide44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8" Type="http://schemas.openxmlformats.org/officeDocument/2006/relationships/slideMaster" Target="slideMasters/slideMaster3.xml"/><Relationship Id="rId51" Type="http://schemas.openxmlformats.org/officeDocument/2006/relationships/slide" Target="slides/slide34.xml"/><Relationship Id="rId72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5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7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6/1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s for taking the time to walk through the main capabilities of Power BI.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If you’re ready to start exploring what Power BI can do for you and your organization, please visit powerbi.com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640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75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6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089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6/10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7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3684" r:id="rId8"/>
    <p:sldLayoutId id="214748410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123.png"/><Relationship Id="rId7" Type="http://schemas.openxmlformats.org/officeDocument/2006/relationships/image" Target="../media/image1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Relationship Id="rId9" Type="http://schemas.openxmlformats.org/officeDocument/2006/relationships/image" Target="../media/image12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3" Type="http://schemas.openxmlformats.org/officeDocument/2006/relationships/image" Target="../media/image130.png"/><Relationship Id="rId7" Type="http://schemas.openxmlformats.org/officeDocument/2006/relationships/image" Target="../media/image13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2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image" Target="../media/image153.png"/><Relationship Id="rId7" Type="http://schemas.openxmlformats.org/officeDocument/2006/relationships/image" Target="../media/image15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6.png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powerbi.microsoft.com/en-us/desktop/?WT.mc_id=Blog_Desktop_Update" TargetMode="External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onedrive.live.com/?id=7B84B0F2C239489A!2078&amp;cid=7B84B0F2C239489A" TargetMode="Externa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bit.ly/1a9Q0gv" TargetMode="External"/><Relationship Id="rId11" Type="http://schemas.openxmlformats.org/officeDocument/2006/relationships/image" Target="../media/image164.png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163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162.jp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" y="14287"/>
            <a:ext cx="12144375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1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4628" y="1049428"/>
            <a:ext cx="9922538" cy="501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94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031966"/>
            <a:ext cx="114655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xample if we want to aggregate any data in powerbi dashboard instantly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199" y="1659830"/>
            <a:ext cx="113407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We can aggregate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a non-numeric field. For example, if 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we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have a product name field, you can add it as a value and then set it to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Coun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Distinct coun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Firs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 or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Las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.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813" y="2708093"/>
            <a:ext cx="5413494" cy="269992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73812" y="5428676"/>
            <a:ext cx="113489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It is typically used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for numeric fields. Power BI recognizes that this is a text field, sets the aggregate to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Do not summarize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 and presents us with a single-column table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da-DK" dirty="0">
              <a:solidFill>
                <a:srgbClr val="000000"/>
              </a:solidFill>
              <a:latin typeface="segoe-ui_normal"/>
            </a:endParaRPr>
          </a:p>
          <a:p>
            <a:r>
              <a:rPr lang="en-GB" dirty="0"/>
              <a:t>presents us with a single-column table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75566" y="3422469"/>
            <a:ext cx="3722914" cy="6278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VALUES WELL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4310743" y="3540034"/>
            <a:ext cx="2664823" cy="653143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012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" y="1060158"/>
            <a:ext cx="116179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Now, if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we change the aggregation from the default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Do not summarize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to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Count (Distinct)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 Power BI counts the number of different products. In this case, there are 4.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131" y="1832788"/>
            <a:ext cx="4847005" cy="172031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13248" y="3679397"/>
            <a:ext cx="114010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By dragging the same field (in this cas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Produc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) into the Values well, and leaving the default aggregation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Do not summarize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, Power BI breaks down the count by product.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632" y="4435266"/>
            <a:ext cx="5160647" cy="239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09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" y="1018903"/>
            <a:ext cx="11432153" cy="11264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ilters: </a:t>
            </a:r>
            <a:r>
              <a:rPr lang="en-GB" b="1" i="1" dirty="0"/>
              <a:t>Filters</a:t>
            </a:r>
            <a:r>
              <a:rPr lang="en-GB" dirty="0"/>
              <a:t> remove all but the data you want to focus on. </a:t>
            </a:r>
            <a:r>
              <a:rPr lang="en-GB" b="1" i="1" dirty="0"/>
              <a:t>Highlighting</a:t>
            </a:r>
            <a:r>
              <a:rPr lang="en-GB" dirty="0"/>
              <a:t> is not filtering since it does not remove data but instead highlights a subset of the visible data; the </a:t>
            </a:r>
            <a:r>
              <a:rPr lang="en-GB" dirty="0" err="1"/>
              <a:t>unhighlighted</a:t>
            </a:r>
            <a:r>
              <a:rPr lang="en-GB" dirty="0"/>
              <a:t> data remains visible but dimmed.</a:t>
            </a:r>
            <a:endParaRPr lang="en-GB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6429" y="2223150"/>
            <a:ext cx="3219856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Two different Filters those are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Reading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view 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Editing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view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32994"/>
              </p:ext>
            </p:extLst>
          </p:nvPr>
        </p:nvGraphicFramePr>
        <p:xfrm>
          <a:off x="2076357" y="3502274"/>
          <a:ext cx="8128000" cy="22694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12046">
                  <a:extLst>
                    <a:ext uri="{9D8B030D-6E8A-4147-A177-3AD203B41FA5}">
                      <a16:colId xmlns:a16="http://schemas.microsoft.com/office/drawing/2014/main" val="3430598233"/>
                    </a:ext>
                  </a:extLst>
                </a:gridCol>
                <a:gridCol w="3915954">
                  <a:extLst>
                    <a:ext uri="{9D8B030D-6E8A-4147-A177-3AD203B41FA5}">
                      <a16:colId xmlns:a16="http://schemas.microsoft.com/office/drawing/2014/main" val="119291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Reading View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Editing</a:t>
                      </a:r>
                      <a:r>
                        <a:rPr lang="da-DK" baseline="0" dirty="0" smtClean="0"/>
                        <a:t> View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456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In reading view you can interact</a:t>
                      </a:r>
                      <a:r>
                        <a:rPr lang="da-DK" baseline="0" dirty="0" smtClean="0"/>
                        <a:t> with any added filters and save the selection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You can add report,</a:t>
                      </a:r>
                      <a:r>
                        <a:rPr lang="da-DK" baseline="0" dirty="0" smtClean="0"/>
                        <a:t> page, drillthrough and visual filters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067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Cannot add a new filt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When you save the report, the filters are also saved with</a:t>
                      </a:r>
                      <a:r>
                        <a:rPr lang="da-DK" baseline="0" dirty="0" smtClean="0"/>
                        <a:t> the report-also in mobile app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035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People cannot add new filters in it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60917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25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6389" y="1018903"/>
            <a:ext cx="1130152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ading view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795" y="1909218"/>
            <a:ext cx="2105025" cy="42291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9672" y="2085430"/>
            <a:ext cx="4619625" cy="3876675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 bwMode="auto">
          <a:xfrm>
            <a:off x="2756262" y="3381811"/>
            <a:ext cx="2573383" cy="117712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56261" y="1131661"/>
            <a:ext cx="82949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In Reading View, explore the data by modifying the existing filter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06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6389" y="1018903"/>
            <a:ext cx="1130152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diting view </a:t>
            </a:r>
            <a:r>
              <a:rPr lang="en-GB" dirty="0"/>
              <a:t>When you have owner permissions for a report and open it in Editing View, you see that </a:t>
            </a:r>
            <a:r>
              <a:rPr lang="en-GB" b="1" dirty="0"/>
              <a:t>Filters</a:t>
            </a:r>
            <a:r>
              <a:rPr lang="en-GB" dirty="0"/>
              <a:t> is just one of several editing panes available.</a:t>
            </a:r>
            <a:endParaRPr lang="en-GB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631" y="1781934"/>
            <a:ext cx="7827101" cy="491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88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8011" y="1058091"/>
            <a:ext cx="11379902" cy="148040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rillthrough: </a:t>
            </a:r>
            <a:r>
              <a:rPr lang="en-GB" sz="2000" dirty="0"/>
              <a:t>When you have owner permissions for a report and open it in Editing View, you see that </a:t>
            </a:r>
            <a:r>
              <a:rPr lang="en-GB" sz="2000" b="1" dirty="0"/>
              <a:t>Filters</a:t>
            </a:r>
            <a:r>
              <a:rPr lang="en-GB" sz="2000" dirty="0"/>
              <a:t> is just one of several editing panes available</a:t>
            </a:r>
            <a:r>
              <a:rPr lang="en-GB" sz="2000" dirty="0" smtClean="0"/>
              <a:t>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dirty="0" smtClean="0"/>
              <a:t>When </a:t>
            </a:r>
            <a:r>
              <a:rPr lang="en-GB" dirty="0"/>
              <a:t>you have owner permissions for a report and open it in Editing View, you see that </a:t>
            </a:r>
            <a:r>
              <a:rPr lang="en-GB" b="1" dirty="0"/>
              <a:t>Filters</a:t>
            </a:r>
            <a:r>
              <a:rPr lang="en-GB" dirty="0"/>
              <a:t> is just one of several editing panes available.</a:t>
            </a:r>
            <a:endParaRPr lang="en-GB" sz="28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39" y="2343074"/>
            <a:ext cx="2722578" cy="435317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557451" y="2640763"/>
            <a:ext cx="6096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on that </a:t>
            </a:r>
            <a:r>
              <a:rPr lang="en-GB" dirty="0" err="1">
                <a:solidFill>
                  <a:srgbClr val="000000"/>
                </a:solidFill>
                <a:latin typeface="segoe-ui_normal"/>
              </a:rPr>
              <a:t>drillthrough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 page, </a:t>
            </a:r>
            <a:endParaRPr lang="en-GB" dirty="0" smtClean="0">
              <a:solidFill>
                <a:srgbClr val="000000"/>
              </a:solidFill>
              <a:latin typeface="segoe-ui_normal"/>
            </a:endParaRP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in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th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Field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section of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Visualization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pane, </a:t>
            </a:r>
            <a:endParaRPr lang="en-GB" dirty="0" smtClean="0">
              <a:solidFill>
                <a:srgbClr val="000000"/>
              </a:solidFill>
              <a:latin typeface="segoe-ui_normal"/>
            </a:endParaRPr>
          </a:p>
          <a:p>
            <a:r>
              <a:rPr lang="en-GB" dirty="0" smtClean="0">
                <a:solidFill>
                  <a:srgbClr val="000000"/>
                </a:solidFill>
                <a:latin typeface="segoe-ui_normal"/>
              </a:rPr>
              <a:t>drag 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the field about which you want to </a:t>
            </a:r>
            <a:r>
              <a:rPr lang="en-GB" dirty="0" err="1">
                <a:solidFill>
                  <a:srgbClr val="000000"/>
                </a:solidFill>
                <a:latin typeface="segoe-ui_normal"/>
              </a:rPr>
              <a:t>drillthrough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 into the </a:t>
            </a:r>
            <a:r>
              <a:rPr lang="en-GB" b="1" dirty="0" err="1">
                <a:solidFill>
                  <a:srgbClr val="000000"/>
                </a:solidFill>
                <a:latin typeface="segoe-ui_bold"/>
              </a:rPr>
              <a:t>Drillthrough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 filter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well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da-DK" dirty="0">
              <a:solidFill>
                <a:srgbClr val="000000"/>
              </a:solidFill>
              <a:latin typeface="segoe-ui_normal"/>
            </a:endParaRPr>
          </a:p>
          <a:p>
            <a:r>
              <a:rPr lang="en-GB" dirty="0"/>
              <a:t>on that </a:t>
            </a:r>
            <a:r>
              <a:rPr lang="en-GB" dirty="0" err="1"/>
              <a:t>drillthrough</a:t>
            </a:r>
            <a:r>
              <a:rPr lang="en-GB" dirty="0"/>
              <a:t> page, in the </a:t>
            </a:r>
            <a:r>
              <a:rPr lang="en-GB" b="1" dirty="0"/>
              <a:t>Fields</a:t>
            </a:r>
            <a:r>
              <a:rPr lang="en-GB" dirty="0"/>
              <a:t> section of </a:t>
            </a:r>
            <a:r>
              <a:rPr lang="en-GB" b="1" dirty="0"/>
              <a:t>Visualizations</a:t>
            </a:r>
            <a:r>
              <a:rPr lang="en-GB" dirty="0"/>
              <a:t> pane, drag the field about which you want to </a:t>
            </a:r>
            <a:r>
              <a:rPr lang="en-GB" dirty="0" err="1"/>
              <a:t>drillthrough</a:t>
            </a:r>
            <a:r>
              <a:rPr lang="en-GB" dirty="0"/>
              <a:t> into the </a:t>
            </a:r>
            <a:r>
              <a:rPr lang="en-GB" b="1" dirty="0" err="1"/>
              <a:t>Drillthrough</a:t>
            </a:r>
            <a:r>
              <a:rPr lang="en-GB" b="1" dirty="0"/>
              <a:t> filters</a:t>
            </a:r>
            <a:r>
              <a:rPr lang="en-GB" dirty="0"/>
              <a:t> well.</a:t>
            </a:r>
          </a:p>
        </p:txBody>
      </p:sp>
    </p:spTree>
    <p:extLst>
      <p:ext uri="{BB962C8B-B14F-4D97-AF65-F5344CB8AC3E}">
        <p14:creationId xmlns:p14="http://schemas.microsoft.com/office/powerpoint/2010/main" val="401611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IBBON CHART</a:t>
            </a:r>
          </a:p>
        </p:txBody>
      </p:sp>
    </p:spTree>
    <p:extLst>
      <p:ext uri="{BB962C8B-B14F-4D97-AF65-F5344CB8AC3E}">
        <p14:creationId xmlns:p14="http://schemas.microsoft.com/office/powerpoint/2010/main" val="395622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5" y="756452"/>
            <a:ext cx="5210175" cy="22764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26438" y="1081304"/>
            <a:ext cx="8696324" cy="136960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download custom visualisations use this link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ttps://appsource.microsoft.com/en-us/marketplace/apps?product=power-bi-visuals&amp;page=1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825" y="3077262"/>
            <a:ext cx="1771650" cy="3780738"/>
          </a:xfrm>
          <a:prstGeom prst="rect">
            <a:avLst/>
          </a:prstGeom>
        </p:spPr>
      </p:pic>
      <p:sp>
        <p:nvSpPr>
          <p:cNvPr id="8" name="Curved Right Arrow 7"/>
          <p:cNvSpPr/>
          <p:nvPr/>
        </p:nvSpPr>
        <p:spPr bwMode="auto">
          <a:xfrm>
            <a:off x="-1" y="4171950"/>
            <a:ext cx="1042989" cy="1443038"/>
          </a:xfrm>
          <a:prstGeom prst="curvedRightArrow">
            <a:avLst/>
          </a:prstGeom>
          <a:solidFill>
            <a:schemeClr val="tx1"/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5825" y="5472113"/>
            <a:ext cx="1771650" cy="81438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6051" y="3077262"/>
            <a:ext cx="1714500" cy="9620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4388" y="2905124"/>
            <a:ext cx="7567612" cy="2079987"/>
          </a:xfrm>
          <a:prstGeom prst="rect">
            <a:avLst/>
          </a:prstGeom>
        </p:spPr>
      </p:pic>
      <p:sp>
        <p:nvSpPr>
          <p:cNvPr id="12" name="Right Arrow 11"/>
          <p:cNvSpPr/>
          <p:nvPr/>
        </p:nvSpPr>
        <p:spPr bwMode="auto">
          <a:xfrm rot="18811144">
            <a:off x="1683687" y="4689362"/>
            <a:ext cx="2357438" cy="229436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107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ALYTICS PANE</a:t>
            </a:r>
          </a:p>
        </p:txBody>
      </p:sp>
    </p:spTree>
    <p:extLst>
      <p:ext uri="{BB962C8B-B14F-4D97-AF65-F5344CB8AC3E}">
        <p14:creationId xmlns:p14="http://schemas.microsoft.com/office/powerpoint/2010/main" val="8364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963" y="371475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             Let’s Create PowerBI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Cloud Callout 3"/>
          <p:cNvSpPr/>
          <p:nvPr/>
        </p:nvSpPr>
        <p:spPr bwMode="auto">
          <a:xfrm>
            <a:off x="6043613" y="1400175"/>
            <a:ext cx="4437450" cy="2871788"/>
          </a:xfrm>
          <a:prstGeom prst="cloudCallou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10629" y="2245138"/>
            <a:ext cx="3503418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32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re do I    START?</a:t>
            </a:r>
            <a:endParaRPr lang="en-IN" sz="32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812" y="4631937"/>
            <a:ext cx="2014377" cy="232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3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5" y="1032169"/>
            <a:ext cx="3514725" cy="27241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381" y="4902634"/>
            <a:ext cx="10129838" cy="8039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382" y="5762818"/>
            <a:ext cx="5450682" cy="4379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6362" y="4076269"/>
            <a:ext cx="9480804" cy="48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88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5" y="881062"/>
            <a:ext cx="6562725" cy="28384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5213" y="1704975"/>
            <a:ext cx="6362700" cy="27908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645" y="3854080"/>
            <a:ext cx="5492943" cy="2771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53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4" y="756452"/>
            <a:ext cx="7419975" cy="5524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950" y="1308902"/>
            <a:ext cx="6038850" cy="4857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6551" y="1032677"/>
            <a:ext cx="5505450" cy="373934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950" y="1936766"/>
            <a:ext cx="5886450" cy="228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225" y="2347127"/>
            <a:ext cx="6210300" cy="7715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46" y="2832902"/>
            <a:ext cx="3843292" cy="402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0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3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67" y="756452"/>
            <a:ext cx="10235277" cy="5579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717" y="1205722"/>
            <a:ext cx="10388206" cy="4659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717" y="1558932"/>
            <a:ext cx="10424704" cy="45324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717" y="2024848"/>
            <a:ext cx="6587656" cy="357585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315200" y="2256662"/>
            <a:ext cx="1200150" cy="62786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b="1" dirty="0" smtClean="0">
                <a:solidFill>
                  <a:srgbClr val="FF0000"/>
                </a:solidFill>
              </a:rPr>
              <a:t>NOTE</a:t>
            </a:r>
            <a:endParaRPr lang="en-IN" sz="2400" b="1" dirty="0" err="1" smtClean="0">
              <a:solidFill>
                <a:srgbClr val="FF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4374" y="3129008"/>
            <a:ext cx="5187626" cy="6571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5974" y="3875714"/>
            <a:ext cx="4924425" cy="26860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66560" y="6110621"/>
            <a:ext cx="1316850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30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875" y="857250"/>
            <a:ext cx="2305050" cy="4000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875" y="1358098"/>
            <a:ext cx="9138662" cy="4278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875" y="1785938"/>
            <a:ext cx="5913429" cy="3571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325" y="2213778"/>
            <a:ext cx="607695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30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" y="756452"/>
            <a:ext cx="2228850" cy="381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5550" y="756452"/>
            <a:ext cx="9034462" cy="6959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575" y="1452402"/>
            <a:ext cx="2228850" cy="49434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5136" y="1542695"/>
            <a:ext cx="7581901" cy="499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36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OKMARKS</a:t>
            </a:r>
          </a:p>
        </p:txBody>
      </p:sp>
    </p:spTree>
    <p:extLst>
      <p:ext uri="{BB962C8B-B14F-4D97-AF65-F5344CB8AC3E}">
        <p14:creationId xmlns:p14="http://schemas.microsoft.com/office/powerpoint/2010/main" val="129881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7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438" y="890587"/>
            <a:ext cx="5257800" cy="5619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438" y="1586697"/>
            <a:ext cx="5448300" cy="285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0238" y="1586697"/>
            <a:ext cx="2362200" cy="2476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437" y="2006581"/>
            <a:ext cx="5002305" cy="45306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4742" y="2006581"/>
            <a:ext cx="6737258" cy="21621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95016" y="4340990"/>
            <a:ext cx="5772150" cy="25336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08741" y="6086119"/>
            <a:ext cx="1316850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9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2" y="862013"/>
            <a:ext cx="3257550" cy="2476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412" y="1215224"/>
            <a:ext cx="5372100" cy="2362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3587" y="1215224"/>
            <a:ext cx="2990850" cy="16668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26719" y="685408"/>
            <a:ext cx="2645570" cy="62786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 Bookmark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2413" y="3757613"/>
            <a:ext cx="2619376" cy="9541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dirty="0"/>
              <a:t>Arranging bookmark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412" y="4324231"/>
            <a:ext cx="4843463" cy="253376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1224" y="2992660"/>
            <a:ext cx="4238625" cy="4286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7603" y="3734757"/>
            <a:ext cx="4943475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72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ORT THEMES</a:t>
            </a:r>
          </a:p>
        </p:txBody>
      </p:sp>
    </p:spTree>
    <p:extLst>
      <p:ext uri="{BB962C8B-B14F-4D97-AF65-F5344CB8AC3E}">
        <p14:creationId xmlns:p14="http://schemas.microsoft.com/office/powerpoint/2010/main" val="322497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57650" y="871538"/>
            <a:ext cx="4371975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tx1"/>
                </a:solidFill>
              </a:rPr>
              <a:t>Let’s dig deeper into PowerBI</a:t>
            </a:r>
            <a:endParaRPr lang="en-IN" sz="2400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333" y="1614488"/>
            <a:ext cx="8619897" cy="464343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28888" y="3643313"/>
            <a:ext cx="5243512" cy="9602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ort View once PowerBI application is open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235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62" y="900112"/>
            <a:ext cx="6638925" cy="285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710" y="942974"/>
            <a:ext cx="4533909" cy="2428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62" y="1185862"/>
            <a:ext cx="1857375" cy="2571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3362" y="1443037"/>
            <a:ext cx="2876550" cy="3714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362" y="1821478"/>
            <a:ext cx="2990850" cy="2857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24212" y="1840528"/>
            <a:ext cx="5248275" cy="2476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362" y="2228849"/>
            <a:ext cx="6105525" cy="357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64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QUICK MEASUR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8202" y="3795711"/>
            <a:ext cx="9299431" cy="447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528888" y="4222957"/>
            <a:ext cx="7586663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AS live connections are supported for this caus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0375" y="5144645"/>
            <a:ext cx="5936455" cy="3053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3780" y="5535913"/>
            <a:ext cx="5010150" cy="25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53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562" y="952500"/>
            <a:ext cx="4457700" cy="2952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562" y="1443823"/>
            <a:ext cx="3362325" cy="32099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1887" y="1475980"/>
            <a:ext cx="3276600" cy="51530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9562" y="4849796"/>
            <a:ext cx="2647950" cy="10572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4212" y="771697"/>
            <a:ext cx="3476625" cy="59245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10030477" y="3235309"/>
            <a:ext cx="2809875" cy="419100"/>
          </a:xfrm>
          <a:prstGeom prst="rect">
            <a:avLst/>
          </a:prstGeom>
        </p:spPr>
      </p:pic>
      <p:sp>
        <p:nvSpPr>
          <p:cNvPr id="11" name="Left Arrow 10"/>
          <p:cNvSpPr/>
          <p:nvPr/>
        </p:nvSpPr>
        <p:spPr bwMode="auto">
          <a:xfrm>
            <a:off x="10510837" y="2943225"/>
            <a:ext cx="856329" cy="357188"/>
          </a:xfrm>
          <a:prstGeom prst="lef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424" y="909637"/>
            <a:ext cx="3057525" cy="3524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336" y="1415247"/>
            <a:ext cx="2933700" cy="2952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8036" y="1415247"/>
            <a:ext cx="1304925" cy="2476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336" y="1745162"/>
            <a:ext cx="5572127" cy="4951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42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ICK ACCESSIBILITY WITH POWERBI REPORTS</a:t>
            </a:r>
          </a:p>
        </p:txBody>
      </p:sp>
    </p:spTree>
    <p:extLst>
      <p:ext uri="{BB962C8B-B14F-4D97-AF65-F5344CB8AC3E}">
        <p14:creationId xmlns:p14="http://schemas.microsoft.com/office/powerpoint/2010/main" val="7809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112" y="756452"/>
            <a:ext cx="9096376" cy="384132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987" y="4321554"/>
            <a:ext cx="6086475" cy="2762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7462" y="4335841"/>
            <a:ext cx="1962150" cy="2476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4925" y="3305175"/>
            <a:ext cx="1962150" cy="247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63" y="4612066"/>
            <a:ext cx="8358187" cy="7134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987" y="5325469"/>
            <a:ext cx="7248526" cy="864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87" y="1028699"/>
            <a:ext cx="1939548" cy="553306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305" y="1028699"/>
            <a:ext cx="7253152" cy="6334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2517" y="1901037"/>
            <a:ext cx="2640888" cy="46362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8687" y="1934354"/>
            <a:ext cx="6532144" cy="163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19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299" y="1806579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ROUPIN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3199" y="2885720"/>
            <a:ext cx="4651370" cy="36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67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63" y="867183"/>
            <a:ext cx="6410325" cy="2381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4607" y="867183"/>
            <a:ext cx="2714625" cy="2000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112" y="1216039"/>
            <a:ext cx="1495425" cy="3619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850" y="1688720"/>
            <a:ext cx="6534150" cy="3238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0431" y="1067208"/>
            <a:ext cx="2247900" cy="22479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850" y="2098400"/>
            <a:ext cx="6438900" cy="6000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3763" y="2932747"/>
            <a:ext cx="5086350" cy="26384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8414" y="3479315"/>
            <a:ext cx="6686550" cy="628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33159" y="4194171"/>
            <a:ext cx="4381500" cy="26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71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4599" y="3059007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NAP TO GRID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4317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57650" y="871538"/>
            <a:ext cx="4371975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tx1"/>
                </a:solidFill>
              </a:rPr>
              <a:t>Let’s dig deeper into PowerBI</a:t>
            </a:r>
            <a:endParaRPr lang="en-IN" sz="2400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334" y="1520312"/>
            <a:ext cx="9608405" cy="51759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8741" y="6177862"/>
            <a:ext cx="1316850" cy="451143"/>
          </a:xfrm>
          <a:prstGeom prst="rect">
            <a:avLst/>
          </a:prstGeom>
        </p:spPr>
      </p:pic>
      <p:sp>
        <p:nvSpPr>
          <p:cNvPr id="9" name="Left Arrow 8"/>
          <p:cNvSpPr/>
          <p:nvPr/>
        </p:nvSpPr>
        <p:spPr bwMode="auto">
          <a:xfrm>
            <a:off x="1502229" y="2612571"/>
            <a:ext cx="2233748" cy="169818"/>
          </a:xfrm>
          <a:prstGeom prst="lef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35977" y="2455817"/>
            <a:ext cx="323958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40034" y="2416628"/>
            <a:ext cx="2536643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ort view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3857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5541" y="955629"/>
            <a:ext cx="3286470" cy="3637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510" y="949098"/>
            <a:ext cx="6345031" cy="2732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686" y="1653966"/>
            <a:ext cx="2562225" cy="46577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4894" y="1275995"/>
            <a:ext cx="3124200" cy="304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01031" y="1740011"/>
            <a:ext cx="3971925" cy="44779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30033" y="1728292"/>
            <a:ext cx="3538062" cy="4583399"/>
          </a:xfrm>
          <a:prstGeom prst="rect">
            <a:avLst/>
          </a:prstGeom>
        </p:spPr>
      </p:pic>
      <p:sp>
        <p:nvSpPr>
          <p:cNvPr id="11" name="Left-Right Arrow 10"/>
          <p:cNvSpPr/>
          <p:nvPr/>
        </p:nvSpPr>
        <p:spPr bwMode="auto">
          <a:xfrm>
            <a:off x="3082834" y="3592286"/>
            <a:ext cx="692332" cy="470263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Left-Right Arrow 11"/>
          <p:cNvSpPr/>
          <p:nvPr/>
        </p:nvSpPr>
        <p:spPr bwMode="auto">
          <a:xfrm>
            <a:off x="7837701" y="3592286"/>
            <a:ext cx="692332" cy="470263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63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4599" y="3059007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ing a column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0618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452" y="1599017"/>
            <a:ext cx="4099592" cy="37698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94069" y="835176"/>
            <a:ext cx="513370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imple wise to add column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0570" y="1614663"/>
            <a:ext cx="4305300" cy="2857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0570" y="2234020"/>
            <a:ext cx="5600700" cy="247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34588" y="2227899"/>
            <a:ext cx="1104900" cy="2381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0569" y="2815277"/>
            <a:ext cx="7447203" cy="41509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60570" y="3364555"/>
            <a:ext cx="6969442" cy="27963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60569" y="3894783"/>
            <a:ext cx="7575645" cy="424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0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0368" y="963114"/>
            <a:ext cx="6515100" cy="4381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873" y="1401264"/>
            <a:ext cx="4400550" cy="30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643" y="1839414"/>
            <a:ext cx="6457950" cy="20478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643" y="4049214"/>
            <a:ext cx="5038725" cy="2762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2368" y="4077788"/>
            <a:ext cx="3028950" cy="2190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3643" y="4515938"/>
            <a:ext cx="5791200" cy="200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3081" y="927463"/>
            <a:ext cx="6436355" cy="365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825" y="1373411"/>
            <a:ext cx="6343650" cy="4095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825" y="5727886"/>
            <a:ext cx="635317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98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219" y="894261"/>
            <a:ext cx="5629275" cy="4191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219" y="1569039"/>
            <a:ext cx="6515100" cy="20478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4467" y="3751352"/>
            <a:ext cx="7453247" cy="5048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4256177"/>
            <a:ext cx="5623696" cy="24956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55413" y="4429501"/>
            <a:ext cx="4391025" cy="2381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55413" y="4867347"/>
            <a:ext cx="5886450" cy="23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3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870" y="756452"/>
            <a:ext cx="4933950" cy="4762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870" y="1232702"/>
            <a:ext cx="6553200" cy="32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0840" y="1285089"/>
            <a:ext cx="2590800" cy="2190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871" y="1659161"/>
            <a:ext cx="4925264" cy="278221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4787" y="2545441"/>
            <a:ext cx="6657975" cy="5048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3310" y="4492869"/>
            <a:ext cx="3790679" cy="2203378"/>
          </a:xfrm>
          <a:prstGeom prst="rect">
            <a:avLst/>
          </a:prstGeom>
        </p:spPr>
      </p:pic>
      <p:sp>
        <p:nvSpPr>
          <p:cNvPr id="11" name="Bent Arrow 10"/>
          <p:cNvSpPr/>
          <p:nvPr/>
        </p:nvSpPr>
        <p:spPr bwMode="auto">
          <a:xfrm rot="10800000">
            <a:off x="4153988" y="3101764"/>
            <a:ext cx="4180115" cy="2984356"/>
          </a:xfrm>
          <a:prstGeom prst="ben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54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532" y="881062"/>
            <a:ext cx="5048250" cy="5238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532" y="1529547"/>
            <a:ext cx="6657975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7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4599" y="3059007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 Phone Apps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21654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513" y="892398"/>
            <a:ext cx="2419350" cy="50577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2691" y="917340"/>
            <a:ext cx="5467350" cy="704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22691" y="1783078"/>
            <a:ext cx="742950" cy="15430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2691" y="3326128"/>
            <a:ext cx="6286500" cy="31813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1141" y="1875732"/>
            <a:ext cx="6296025" cy="6096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53100" y="4344119"/>
            <a:ext cx="64389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50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57650" y="871538"/>
            <a:ext cx="4371975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tx1"/>
                </a:solidFill>
              </a:rPr>
              <a:t>Let’s dig deeper into PowerBI</a:t>
            </a:r>
            <a:endParaRPr lang="en-IN" sz="2400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333" y="1614488"/>
            <a:ext cx="8619897" cy="4643437"/>
          </a:xfrm>
          <a:prstGeom prst="rect">
            <a:avLst/>
          </a:prstGeom>
        </p:spPr>
      </p:pic>
      <p:sp>
        <p:nvSpPr>
          <p:cNvPr id="8" name="Left Arrow 7"/>
          <p:cNvSpPr/>
          <p:nvPr/>
        </p:nvSpPr>
        <p:spPr bwMode="auto">
          <a:xfrm>
            <a:off x="2076994" y="2847703"/>
            <a:ext cx="2194560" cy="169817"/>
          </a:xfrm>
          <a:prstGeom prst="lef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57650" y="2646379"/>
            <a:ext cx="2536643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view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83279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28663" y="1185863"/>
            <a:ext cx="1102649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64" y="919813"/>
            <a:ext cx="10638502" cy="506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77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14675" y="157163"/>
            <a:ext cx="6954553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ownload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4375" y="1057275"/>
            <a:ext cx="11208387" cy="45181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install PowerBI from Microsof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https://powerbi.microsoft.com/en-us/desktop/?</a:t>
            </a: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WT.mc_id=Blog_Desktop_Update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 smtClean="0"/>
              <a:t>Microsoft </a:t>
            </a:r>
            <a:r>
              <a:rPr lang="en-IN" sz="2400" dirty="0"/>
              <a:t>One drive</a:t>
            </a:r>
          </a:p>
          <a:p>
            <a:r>
              <a:rPr lang="en-IN" sz="2400"/>
              <a:t>https://onedrive.live.com/?authkey=%21AAgrneBx3oI8Rak&amp;id=B5A9CCD6892588B1%21423&amp;cid=B5A9CCD6892588B1</a:t>
            </a:r>
            <a:r>
              <a:rPr lang="en-IN" sz="2400" dirty="0"/>
              <a:t/>
            </a:r>
            <a:br>
              <a:rPr lang="en-IN" sz="2400" dirty="0"/>
            </a:br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Microsoft </a:t>
            </a:r>
            <a:r>
              <a:rPr lang="en-IN" sz="2400" dirty="0" err="1"/>
              <a:t>Onedrive</a:t>
            </a:r>
            <a:r>
              <a:rPr lang="en-IN" sz="2400" dirty="0"/>
              <a:t> data sets</a:t>
            </a:r>
          </a:p>
          <a:p>
            <a:r>
              <a:rPr lang="en-IN" sz="2400" dirty="0">
                <a:hlinkClick r:id="rId4"/>
              </a:rPr>
              <a:t>https://onedrive.live.com/?id=7B84B0F2C239489A%212078&amp;cid=7B84B0F2C239489A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235259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49" y="4057651"/>
            <a:ext cx="2400300" cy="2400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4585" y="4057651"/>
            <a:ext cx="1866015" cy="250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07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05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57650" y="871538"/>
            <a:ext cx="4371975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solidFill>
                  <a:schemeClr val="tx1"/>
                </a:solidFill>
              </a:rPr>
              <a:t>Let’s dig deeper into PowerBI</a:t>
            </a:r>
            <a:endParaRPr lang="en-IN" sz="2400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166" y="1614488"/>
            <a:ext cx="8619897" cy="4643437"/>
          </a:xfrm>
          <a:prstGeom prst="rect">
            <a:avLst/>
          </a:prstGeom>
        </p:spPr>
      </p:pic>
      <p:sp>
        <p:nvSpPr>
          <p:cNvPr id="8" name="Left Arrow 7"/>
          <p:cNvSpPr/>
          <p:nvPr/>
        </p:nvSpPr>
        <p:spPr bwMode="auto">
          <a:xfrm>
            <a:off x="2103119" y="3107778"/>
            <a:ext cx="2651760" cy="209005"/>
          </a:xfrm>
          <a:prstGeom prst="lef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85063" y="2926048"/>
            <a:ext cx="2536643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lationship view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9761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881" y="968148"/>
            <a:ext cx="3000375" cy="1133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8249" y="968148"/>
            <a:ext cx="1447800" cy="47434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8042" y="867473"/>
            <a:ext cx="4383021" cy="4944800"/>
          </a:xfrm>
          <a:prstGeom prst="rect">
            <a:avLst/>
          </a:prstGeom>
        </p:spPr>
      </p:pic>
      <p:sp>
        <p:nvSpPr>
          <p:cNvPr id="13" name="Left-Right Arrow 12"/>
          <p:cNvSpPr/>
          <p:nvPr/>
        </p:nvSpPr>
        <p:spPr bwMode="auto">
          <a:xfrm>
            <a:off x="3396343" y="1534885"/>
            <a:ext cx="418011" cy="202475"/>
          </a:xfrm>
          <a:prstGeom prst="left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Left-Right Arrow 13"/>
          <p:cNvSpPr/>
          <p:nvPr/>
        </p:nvSpPr>
        <p:spPr bwMode="auto">
          <a:xfrm>
            <a:off x="5998912" y="3672840"/>
            <a:ext cx="1290162" cy="533400"/>
          </a:xfrm>
          <a:prstGeom prst="left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5881" y="2586446"/>
            <a:ext cx="3372530" cy="6278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We open Getdata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14354" y="5886750"/>
            <a:ext cx="3372530" cy="6278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. Mor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19470" y="3339873"/>
            <a:ext cx="3372530" cy="9602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. Access point connectors</a:t>
            </a:r>
          </a:p>
        </p:txBody>
      </p:sp>
    </p:spTree>
    <p:extLst>
      <p:ext uri="{BB962C8B-B14F-4D97-AF65-F5344CB8AC3E}">
        <p14:creationId xmlns:p14="http://schemas.microsoft.com/office/powerpoint/2010/main" val="2413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45029" y="2867801"/>
            <a:ext cx="9248502" cy="421653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ields- Values, Filters, Legend, Drill through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ibbon Charts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alytics Pane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okmarks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ort Themes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ick Measures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ick Accessibility in </a:t>
            </a:r>
            <a:r>
              <a:rPr lang="en-IN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</a:t>
            </a: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ports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rouping and Binning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nap to Grid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 a column from example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 Phone apps.</a:t>
            </a:r>
            <a:endParaRPr lang="en-IN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5774" y="756452"/>
            <a:ext cx="11044237" cy="211134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ing </a:t>
            </a:r>
            <a:r>
              <a:rPr lang="en-IN" sz="24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</a:t>
            </a: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esktop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BI</a:t>
            </a: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esktop led us to explore data more accurately using the ability to build robust data models. Some of the unique key players involves are these below mentioned factors. </a:t>
            </a:r>
          </a:p>
        </p:txBody>
      </p:sp>
    </p:spTree>
    <p:extLst>
      <p:ext uri="{BB962C8B-B14F-4D97-AF65-F5344CB8AC3E}">
        <p14:creationId xmlns:p14="http://schemas.microsoft.com/office/powerpoint/2010/main" val="117000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00300" y="2793422"/>
            <a:ext cx="7386637" cy="62786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IELDS</a:t>
            </a:r>
          </a:p>
        </p:txBody>
      </p:sp>
    </p:spTree>
    <p:extLst>
      <p:ext uri="{BB962C8B-B14F-4D97-AF65-F5344CB8AC3E}">
        <p14:creationId xmlns:p14="http://schemas.microsoft.com/office/powerpoint/2010/main" val="193990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Props1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F809753-BD6D-417D-881F-81452428E4F9}">
  <ds:schemaRefs>
    <ds:schemaRef ds:uri="http://purl.org/dc/dcmitype/"/>
    <ds:schemaRef ds:uri="http://schemas.microsoft.com/office/2006/documentManagement/types"/>
    <ds:schemaRef ds:uri="ad820760-4664-4be3-bee2-f8b9a6708b4c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sharepoint/v4"/>
    <ds:schemaRef ds:uri="230e9df3-be65-4c73-a93b-d1236ebd677e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059</TotalTime>
  <Words>1003</Words>
  <Application>Microsoft Office PowerPoint</Application>
  <PresentationFormat>Widescreen</PresentationFormat>
  <Paragraphs>202</Paragraphs>
  <Slides>5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77" baseType="lpstr">
      <vt:lpstr>Arial</vt:lpstr>
      <vt:lpstr>Bodoni MT</vt:lpstr>
      <vt:lpstr>Calibri</vt:lpstr>
      <vt:lpstr>Consolas</vt:lpstr>
      <vt:lpstr>Courier New</vt:lpstr>
      <vt:lpstr>Segoe UI</vt:lpstr>
      <vt:lpstr>Segoe UI Light</vt:lpstr>
      <vt:lpstr>Segoe UI Semibold</vt:lpstr>
      <vt:lpstr>segoe-ui_bold</vt:lpstr>
      <vt:lpstr>segoe-ui_normal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67</cp:revision>
  <cp:lastPrinted>2015-05-19T00:06:12Z</cp:lastPrinted>
  <dcterms:created xsi:type="dcterms:W3CDTF">2015-05-11T15:24:15Z</dcterms:created>
  <dcterms:modified xsi:type="dcterms:W3CDTF">2018-06-10T20:1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